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7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0C21D07F-EAFE-47CB-B4F8-9E5500AC80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80BE0C1-5506-45A3-9289-E2681DCB14C2}"/>
              </a:ext>
            </a:extLst>
          </p:cNvPr>
          <p:cNvSpPr/>
          <p:nvPr userDrawn="1"/>
        </p:nvSpPr>
        <p:spPr>
          <a:xfrm>
            <a:off x="10316817" y="6248400"/>
            <a:ext cx="1875183" cy="6096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39"/>
            <a:endParaRPr lang="en-US" sz="2400" dirty="0" err="1">
              <a:solidFill>
                <a:srgbClr val="0070AD">
                  <a:lumMod val="50000"/>
                </a:srgbClr>
              </a:solidFill>
            </a:endParaRPr>
          </a:p>
        </p:txBody>
      </p:sp>
      <p:sp>
        <p:nvSpPr>
          <p:cNvPr id="63" name="Line 7">
            <a:extLst>
              <a:ext uri="{FF2B5EF4-FFF2-40B4-BE49-F238E27FC236}">
                <a16:creationId xmlns:a16="http://schemas.microsoft.com/office/drawing/2014/main" id="{E5B3A77B-5910-4FE7-9C97-B58C8C5D96A3}"/>
              </a:ext>
            </a:extLst>
          </p:cNvPr>
          <p:cNvSpPr>
            <a:spLocks noChangeShapeType="1"/>
          </p:cNvSpPr>
          <p:nvPr userDrawn="1"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1088239"/>
            <a:endParaRPr lang="en-US" sz="2133" dirty="0">
              <a:solidFill>
                <a:srgbClr val="0070AD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Text Box 8">
            <a:extLst>
              <a:ext uri="{FF2B5EF4-FFF2-40B4-BE49-F238E27FC236}">
                <a16:creationId xmlns:a16="http://schemas.microsoft.com/office/drawing/2014/main" id="{23AB695D-C90F-4A38-BF49-79E8CB975C7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defTabSz="1088239"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defTabSz="1088239"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Text Box 9">
            <a:extLst>
              <a:ext uri="{FF2B5EF4-FFF2-40B4-BE49-F238E27FC236}">
                <a16:creationId xmlns:a16="http://schemas.microsoft.com/office/drawing/2014/main" id="{AB482712-D636-434B-874C-22C219C3002B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defTabSz="1088239" eaLnBrk="0" hangingPunct="0">
              <a:lnSpc>
                <a:spcPct val="85000"/>
              </a:lnSpc>
            </a:pPr>
            <a:r>
              <a:rPr lang="en-US" sz="667" dirty="0">
                <a:solidFill>
                  <a:srgbClr val="0070AD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pyright © 2020 Capgemini. All rights reserved.</a:t>
            </a:r>
          </a:p>
        </p:txBody>
      </p:sp>
      <p:pic>
        <p:nvPicPr>
          <p:cNvPr id="66" name="Graphic 9">
            <a:extLst>
              <a:ext uri="{FF2B5EF4-FFF2-40B4-BE49-F238E27FC236}">
                <a16:creationId xmlns:a16="http://schemas.microsoft.com/office/drawing/2014/main" id="{35AB9B7C-8C8A-41B5-BB0A-77386D089E75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509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Ma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269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dirty="0" err="1"/>
              <a:t>Cliquez</a:t>
            </a:r>
            <a:r>
              <a:rPr lang="en-US" noProof="0" dirty="0"/>
              <a:t> pour modifier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17" name="Line 7"/>
          <p:cNvSpPr>
            <a:spLocks noChangeShapeType="1"/>
          </p:cNvSpPr>
          <p:nvPr userDrawn="1"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1088239"/>
            <a:endParaRPr lang="en-US" sz="2133" dirty="0">
              <a:solidFill>
                <a:srgbClr val="0070AD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defTabSz="1088239"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defTabSz="1088239"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defTabSz="1088239" eaLnBrk="0" hangingPunct="0">
              <a:lnSpc>
                <a:spcPct val="85000"/>
              </a:lnSpc>
            </a:pPr>
            <a:r>
              <a:rPr lang="en-US" sz="667" dirty="0">
                <a:solidFill>
                  <a:srgbClr val="0070AD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20 Capgemini. All rights reserved.</a:t>
            </a:r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id="{B89668AE-94D4-4EB2-9872-80790E6528D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77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36">
          <p15:clr>
            <a:srgbClr val="F26B43"/>
          </p15:clr>
        </p15:guide>
        <p15:guide id="2" pos="3840">
          <p15:clr>
            <a:srgbClr val="F26B43"/>
          </p15:clr>
        </p15:guide>
        <p15:guide id="3" pos="168">
          <p15:clr>
            <a:srgbClr val="F26B43"/>
          </p15:clr>
        </p15:guide>
        <p15:guide id="4" pos="7512">
          <p15:clr>
            <a:srgbClr val="F26B43"/>
          </p15:clr>
        </p15:guide>
        <p15:guide id="5" orient="horz" pos="6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A370E27-067A-4672-B83D-577F37AC0E41}"/>
              </a:ext>
            </a:extLst>
          </p:cNvPr>
          <p:cNvCxnSpPr/>
          <p:nvPr/>
        </p:nvCxnSpPr>
        <p:spPr>
          <a:xfrm>
            <a:off x="2023603" y="1654011"/>
            <a:ext cx="3454400" cy="0"/>
          </a:xfrm>
          <a:prstGeom prst="line">
            <a:avLst/>
          </a:prstGeom>
          <a:noFill/>
          <a:ln w="28575" cap="flat" cmpd="sng" algn="ctr">
            <a:gradFill flip="none" rotWithShape="1">
              <a:gsLst>
                <a:gs pos="0">
                  <a:srgbClr val="80B8D6">
                    <a:lumMod val="5000"/>
                    <a:lumOff val="95000"/>
                    <a:alpha val="0"/>
                  </a:srgbClr>
                </a:gs>
                <a:gs pos="71000">
                  <a:schemeClr val="accent1"/>
                </a:gs>
              </a:gsLst>
              <a:lin ang="10800000" scaled="1"/>
              <a:tileRect/>
            </a:gradFill>
            <a:prstDash val="solid"/>
          </a:ln>
          <a:effectLst/>
        </p:spPr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7963CB9-FEB5-421C-AC17-EF89E0B1FF22}"/>
              </a:ext>
            </a:extLst>
          </p:cNvPr>
          <p:cNvSpPr/>
          <p:nvPr/>
        </p:nvSpPr>
        <p:spPr>
          <a:xfrm flipH="1">
            <a:off x="0" y="-28189"/>
            <a:ext cx="9520318" cy="2211620"/>
          </a:xfrm>
          <a:custGeom>
            <a:avLst/>
            <a:gdLst>
              <a:gd name="connsiteX0" fmla="*/ 1379775 w 1379775"/>
              <a:gd name="connsiteY0" fmla="*/ 279225 h 304381"/>
              <a:gd name="connsiteX1" fmla="*/ 1378518 w 1379775"/>
              <a:gd name="connsiteY1" fmla="*/ 0 h 304381"/>
              <a:gd name="connsiteX2" fmla="*/ 0 w 1379775"/>
              <a:gd name="connsiteY2" fmla="*/ 2515 h 304381"/>
              <a:gd name="connsiteX3" fmla="*/ 1313114 w 1379775"/>
              <a:gd name="connsiteY3" fmla="*/ 304381 h 304381"/>
              <a:gd name="connsiteX4" fmla="*/ 1379775 w 1379775"/>
              <a:gd name="connsiteY4" fmla="*/ 279225 h 304381"/>
              <a:gd name="connsiteX0" fmla="*/ 1379775 w 1379775"/>
              <a:gd name="connsiteY0" fmla="*/ 279225 h 320732"/>
              <a:gd name="connsiteX1" fmla="*/ 1378518 w 1379775"/>
              <a:gd name="connsiteY1" fmla="*/ 0 h 320732"/>
              <a:gd name="connsiteX2" fmla="*/ 0 w 1379775"/>
              <a:gd name="connsiteY2" fmla="*/ 2515 h 320732"/>
              <a:gd name="connsiteX3" fmla="*/ 1324434 w 1379775"/>
              <a:gd name="connsiteY3" fmla="*/ 320732 h 320732"/>
              <a:gd name="connsiteX4" fmla="*/ 1379775 w 1379775"/>
              <a:gd name="connsiteY4" fmla="*/ 279225 h 320732"/>
              <a:gd name="connsiteX0" fmla="*/ 1379775 w 1379775"/>
              <a:gd name="connsiteY0" fmla="*/ 279225 h 320732"/>
              <a:gd name="connsiteX1" fmla="*/ 1378518 w 1379775"/>
              <a:gd name="connsiteY1" fmla="*/ 0 h 320732"/>
              <a:gd name="connsiteX2" fmla="*/ 0 w 1379775"/>
              <a:gd name="connsiteY2" fmla="*/ 2515 h 320732"/>
              <a:gd name="connsiteX3" fmla="*/ 1324434 w 1379775"/>
              <a:gd name="connsiteY3" fmla="*/ 320732 h 320732"/>
              <a:gd name="connsiteX4" fmla="*/ 1379775 w 1379775"/>
              <a:gd name="connsiteY4" fmla="*/ 279225 h 320732"/>
              <a:gd name="connsiteX0" fmla="*/ 1379775 w 1379775"/>
              <a:gd name="connsiteY0" fmla="*/ 279225 h 320732"/>
              <a:gd name="connsiteX1" fmla="*/ 1378518 w 1379775"/>
              <a:gd name="connsiteY1" fmla="*/ 0 h 320732"/>
              <a:gd name="connsiteX2" fmla="*/ 0 w 1379775"/>
              <a:gd name="connsiteY2" fmla="*/ 2515 h 320732"/>
              <a:gd name="connsiteX3" fmla="*/ 1324434 w 1379775"/>
              <a:gd name="connsiteY3" fmla="*/ 320732 h 320732"/>
              <a:gd name="connsiteX4" fmla="*/ 1379775 w 1379775"/>
              <a:gd name="connsiteY4" fmla="*/ 279225 h 320732"/>
              <a:gd name="connsiteX0" fmla="*/ 1379775 w 1379775"/>
              <a:gd name="connsiteY0" fmla="*/ 279225 h 321990"/>
              <a:gd name="connsiteX1" fmla="*/ 1378518 w 1379775"/>
              <a:gd name="connsiteY1" fmla="*/ 0 h 321990"/>
              <a:gd name="connsiteX2" fmla="*/ 0 w 1379775"/>
              <a:gd name="connsiteY2" fmla="*/ 2515 h 321990"/>
              <a:gd name="connsiteX3" fmla="*/ 1316887 w 1379775"/>
              <a:gd name="connsiteY3" fmla="*/ 321990 h 321990"/>
              <a:gd name="connsiteX4" fmla="*/ 1379775 w 1379775"/>
              <a:gd name="connsiteY4" fmla="*/ 279225 h 321990"/>
              <a:gd name="connsiteX0" fmla="*/ 1379775 w 1379775"/>
              <a:gd name="connsiteY0" fmla="*/ 279225 h 321990"/>
              <a:gd name="connsiteX1" fmla="*/ 1378518 w 1379775"/>
              <a:gd name="connsiteY1" fmla="*/ 0 h 321990"/>
              <a:gd name="connsiteX2" fmla="*/ 0 w 1379775"/>
              <a:gd name="connsiteY2" fmla="*/ 2515 h 321990"/>
              <a:gd name="connsiteX3" fmla="*/ 1316887 w 1379775"/>
              <a:gd name="connsiteY3" fmla="*/ 321990 h 321990"/>
              <a:gd name="connsiteX4" fmla="*/ 1379775 w 1379775"/>
              <a:gd name="connsiteY4" fmla="*/ 279225 h 321990"/>
              <a:gd name="connsiteX0" fmla="*/ 1379775 w 1379775"/>
              <a:gd name="connsiteY0" fmla="*/ 279225 h 321990"/>
              <a:gd name="connsiteX1" fmla="*/ 1378518 w 1379775"/>
              <a:gd name="connsiteY1" fmla="*/ 0 h 321990"/>
              <a:gd name="connsiteX2" fmla="*/ 0 w 1379775"/>
              <a:gd name="connsiteY2" fmla="*/ 2515 h 321990"/>
              <a:gd name="connsiteX3" fmla="*/ 1316887 w 1379775"/>
              <a:gd name="connsiteY3" fmla="*/ 321990 h 321990"/>
              <a:gd name="connsiteX4" fmla="*/ 1379775 w 1379775"/>
              <a:gd name="connsiteY4" fmla="*/ 279225 h 321990"/>
              <a:gd name="connsiteX0" fmla="*/ 1379775 w 1379775"/>
              <a:gd name="connsiteY0" fmla="*/ 279225 h 321990"/>
              <a:gd name="connsiteX1" fmla="*/ 1378518 w 1379775"/>
              <a:gd name="connsiteY1" fmla="*/ 0 h 321990"/>
              <a:gd name="connsiteX2" fmla="*/ 0 w 1379775"/>
              <a:gd name="connsiteY2" fmla="*/ 2515 h 321990"/>
              <a:gd name="connsiteX3" fmla="*/ 1316887 w 1379775"/>
              <a:gd name="connsiteY3" fmla="*/ 321990 h 321990"/>
              <a:gd name="connsiteX4" fmla="*/ 1379775 w 1379775"/>
              <a:gd name="connsiteY4" fmla="*/ 279225 h 321990"/>
              <a:gd name="connsiteX0" fmla="*/ 1383548 w 1383548"/>
              <a:gd name="connsiteY0" fmla="*/ 275452 h 321990"/>
              <a:gd name="connsiteX1" fmla="*/ 1378518 w 1383548"/>
              <a:gd name="connsiteY1" fmla="*/ 0 h 321990"/>
              <a:gd name="connsiteX2" fmla="*/ 0 w 1383548"/>
              <a:gd name="connsiteY2" fmla="*/ 2515 h 321990"/>
              <a:gd name="connsiteX3" fmla="*/ 1316887 w 1383548"/>
              <a:gd name="connsiteY3" fmla="*/ 321990 h 321990"/>
              <a:gd name="connsiteX4" fmla="*/ 1383548 w 1383548"/>
              <a:gd name="connsiteY4" fmla="*/ 275452 h 321990"/>
              <a:gd name="connsiteX0" fmla="*/ 1383548 w 1383548"/>
              <a:gd name="connsiteY0" fmla="*/ 275452 h 321990"/>
              <a:gd name="connsiteX1" fmla="*/ 1381034 w 1383548"/>
              <a:gd name="connsiteY1" fmla="*/ 0 h 321990"/>
              <a:gd name="connsiteX2" fmla="*/ 0 w 1383548"/>
              <a:gd name="connsiteY2" fmla="*/ 2515 h 321990"/>
              <a:gd name="connsiteX3" fmla="*/ 1316887 w 1383548"/>
              <a:gd name="connsiteY3" fmla="*/ 321990 h 321990"/>
              <a:gd name="connsiteX4" fmla="*/ 1383548 w 1383548"/>
              <a:gd name="connsiteY4" fmla="*/ 275452 h 321990"/>
              <a:gd name="connsiteX0" fmla="*/ 1383548 w 1385180"/>
              <a:gd name="connsiteY0" fmla="*/ 275452 h 321990"/>
              <a:gd name="connsiteX1" fmla="*/ 1384807 w 1385180"/>
              <a:gd name="connsiteY1" fmla="*/ 0 h 321990"/>
              <a:gd name="connsiteX2" fmla="*/ 0 w 1385180"/>
              <a:gd name="connsiteY2" fmla="*/ 2515 h 321990"/>
              <a:gd name="connsiteX3" fmla="*/ 1316887 w 1385180"/>
              <a:gd name="connsiteY3" fmla="*/ 321990 h 321990"/>
              <a:gd name="connsiteX4" fmla="*/ 1383548 w 1385180"/>
              <a:gd name="connsiteY4" fmla="*/ 275452 h 321990"/>
              <a:gd name="connsiteX0" fmla="*/ 1386064 w 1386064"/>
              <a:gd name="connsiteY0" fmla="*/ 285514 h 321990"/>
              <a:gd name="connsiteX1" fmla="*/ 1384807 w 1386064"/>
              <a:gd name="connsiteY1" fmla="*/ 0 h 321990"/>
              <a:gd name="connsiteX2" fmla="*/ 0 w 1386064"/>
              <a:gd name="connsiteY2" fmla="*/ 2515 h 321990"/>
              <a:gd name="connsiteX3" fmla="*/ 1316887 w 1386064"/>
              <a:gd name="connsiteY3" fmla="*/ 321990 h 321990"/>
              <a:gd name="connsiteX4" fmla="*/ 1386064 w 1386064"/>
              <a:gd name="connsiteY4" fmla="*/ 285514 h 321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6064" h="321990">
                <a:moveTo>
                  <a:pt x="1386064" y="285514"/>
                </a:moveTo>
                <a:cubicBezTo>
                  <a:pt x="1384387" y="193697"/>
                  <a:pt x="1386484" y="91817"/>
                  <a:pt x="1384807" y="0"/>
                </a:cubicBezTo>
                <a:lnTo>
                  <a:pt x="0" y="2515"/>
                </a:lnTo>
                <a:cubicBezTo>
                  <a:pt x="260359" y="375234"/>
                  <a:pt x="1220039" y="-83432"/>
                  <a:pt x="1316887" y="321990"/>
                </a:cubicBezTo>
                <a:lnTo>
                  <a:pt x="1386064" y="2855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3EE1DA2-7C90-4D4F-814C-1E79C2465B28}"/>
              </a:ext>
            </a:extLst>
          </p:cNvPr>
          <p:cNvSpPr/>
          <p:nvPr/>
        </p:nvSpPr>
        <p:spPr>
          <a:xfrm>
            <a:off x="545759" y="816368"/>
            <a:ext cx="1499616" cy="149961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ounded Rectangle 108">
            <a:extLst>
              <a:ext uri="{FF2B5EF4-FFF2-40B4-BE49-F238E27FC236}">
                <a16:creationId xmlns:a16="http://schemas.microsoft.com/office/drawing/2014/main" id="{5B4051BF-52B8-400A-81B6-29AAE8E66D0C}"/>
              </a:ext>
            </a:extLst>
          </p:cNvPr>
          <p:cNvSpPr/>
          <p:nvPr/>
        </p:nvSpPr>
        <p:spPr>
          <a:xfrm>
            <a:off x="-8678" y="2564749"/>
            <a:ext cx="5943600" cy="2286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13716" bIns="13716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Background</a:t>
            </a:r>
          </a:p>
        </p:txBody>
      </p:sp>
      <p:sp>
        <p:nvSpPr>
          <p:cNvPr id="8" name="Rounded Rectangle 108">
            <a:extLst>
              <a:ext uri="{FF2B5EF4-FFF2-40B4-BE49-F238E27FC236}">
                <a16:creationId xmlns:a16="http://schemas.microsoft.com/office/drawing/2014/main" id="{F3E719DD-C6C2-483B-8CFA-28BBF626387E}"/>
              </a:ext>
            </a:extLst>
          </p:cNvPr>
          <p:cNvSpPr/>
          <p:nvPr/>
        </p:nvSpPr>
        <p:spPr>
          <a:xfrm>
            <a:off x="0" y="4973099"/>
            <a:ext cx="5943600" cy="1811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74320" tIns="13716" bIns="13716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Consulting Competencies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B397B750-6D13-4A3C-A129-B02EB99B96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22" y="128204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Rounded Rectangle 16">
            <a:extLst>
              <a:ext uri="{FF2B5EF4-FFF2-40B4-BE49-F238E27FC236}">
                <a16:creationId xmlns:a16="http://schemas.microsoft.com/office/drawing/2014/main" id="{6785B24F-3886-4EE4-8336-47C183DAEC6D}"/>
              </a:ext>
            </a:extLst>
          </p:cNvPr>
          <p:cNvSpPr/>
          <p:nvPr/>
        </p:nvSpPr>
        <p:spPr>
          <a:xfrm>
            <a:off x="6248400" y="1557300"/>
            <a:ext cx="5457270" cy="2616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tIns="45720" bIns="45720" rtlCol="0" anchor="t">
            <a:spAutoFit/>
          </a:bodyPr>
          <a:lstStyle/>
          <a:p>
            <a:pPr marL="0" marR="0" lvl="0" indent="0" algn="l" defTabSz="1088239" rtl="0" eaLnBrk="1" fontAlgn="base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ounded Rectangle 108">
            <a:extLst>
              <a:ext uri="{FF2B5EF4-FFF2-40B4-BE49-F238E27FC236}">
                <a16:creationId xmlns:a16="http://schemas.microsoft.com/office/drawing/2014/main" id="{25BF19E1-9312-4D56-AF0C-AC24B3C1C2CB}"/>
              </a:ext>
            </a:extLst>
          </p:cNvPr>
          <p:cNvSpPr/>
          <p:nvPr/>
        </p:nvSpPr>
        <p:spPr>
          <a:xfrm>
            <a:off x="6248400" y="1344634"/>
            <a:ext cx="5943600" cy="2286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13716" bIns="13716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Experience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2A7E927A-BD95-4BDC-B187-62841780D0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330313"/>
              </p:ext>
            </p:extLst>
          </p:nvPr>
        </p:nvGraphicFramePr>
        <p:xfrm>
          <a:off x="2124888" y="1139050"/>
          <a:ext cx="3971112" cy="770763"/>
        </p:xfrm>
        <a:graphic>
          <a:graphicData uri="http://schemas.openxmlformats.org/drawingml/2006/table">
            <a:tbl>
              <a:tblPr firstRow="1" bandRow="1"/>
              <a:tblGrid>
                <a:gridCol w="3971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7040">
                <a:tc>
                  <a:txBody>
                    <a:bodyPr/>
                    <a:lstStyle>
                      <a:lvl1pPr marL="0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519455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1038910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558365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2077821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597276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3116731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636188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4155643" algn="l" defTabSz="1038910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 b="1" i="0" kern="1200" spc="0" baseline="0" dirty="0">
                          <a:solidFill>
                            <a:schemeClr val="accent3"/>
                          </a:solidFill>
                          <a:latin typeface="Verdana"/>
                          <a:ea typeface="+mn-ea"/>
                          <a:cs typeface="+mn-cs"/>
                        </a:rPr>
                        <a:t>Jhansi Aneela Nerella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200" b="1" i="1" kern="1200" spc="0" baseline="0" dirty="0">
                          <a:solidFill>
                            <a:schemeClr val="accent2"/>
                          </a:solidFill>
                          <a:latin typeface="Verdana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nalyst @ Capgemini</a:t>
                      </a:r>
                    </a:p>
                  </a:txBody>
                  <a:tcPr marL="121920" marR="121920" marT="60960" marB="6096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Rounded Rectangle 16">
            <a:extLst>
              <a:ext uri="{FF2B5EF4-FFF2-40B4-BE49-F238E27FC236}">
                <a16:creationId xmlns:a16="http://schemas.microsoft.com/office/drawing/2014/main" id="{A3E9450F-8841-4812-B038-DBFF55A560C3}"/>
              </a:ext>
            </a:extLst>
          </p:cNvPr>
          <p:cNvSpPr/>
          <p:nvPr/>
        </p:nvSpPr>
        <p:spPr>
          <a:xfrm>
            <a:off x="151034" y="5203989"/>
            <a:ext cx="5871788" cy="10111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numCol="1" spcCol="182880" rtlCol="0" anchor="t">
            <a:noAutofit/>
          </a:bodyPr>
          <a:lstStyle/>
          <a:p>
            <a:pPr marL="152396" indent="-152396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adership and Problem Solving</a:t>
            </a:r>
          </a:p>
          <a:p>
            <a:pPr marL="152396" lvl="0" indent="-152396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daptive to fast paced environment</a:t>
            </a:r>
          </a:p>
          <a:p>
            <a:pPr marL="152396" lvl="0" indent="-152396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ime management</a:t>
            </a:r>
          </a:p>
          <a:p>
            <a:pPr marL="152396" marR="0" lvl="0" indent="-152396" algn="l" defTabSz="1088239" rtl="0" eaLnBrk="1" fontAlgn="base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ask driven. </a:t>
            </a:r>
          </a:p>
          <a:p>
            <a:pPr marL="152396" marR="0" lvl="0" indent="-152396" algn="l" defTabSz="1088239" rtl="0" eaLnBrk="1" fontAlgn="base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Communicating clearly and empathetically</a:t>
            </a:r>
          </a:p>
          <a:p>
            <a:pPr marL="152396" marR="0" lvl="0" indent="-152396" algn="l" defTabSz="1088239" rtl="0" eaLnBrk="1" fontAlgn="base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Credibilit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2396" marR="0" lvl="0" indent="-152396" algn="l" defTabSz="1088239" rtl="0" eaLnBrk="1" fontAlgn="base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Rounded Rectangle 16">
            <a:extLst>
              <a:ext uri="{FF2B5EF4-FFF2-40B4-BE49-F238E27FC236}">
                <a16:creationId xmlns:a16="http://schemas.microsoft.com/office/drawing/2014/main" id="{E2D14CA1-52D7-4AEE-8F0F-501CCFF814E1}"/>
              </a:ext>
            </a:extLst>
          </p:cNvPr>
          <p:cNvSpPr/>
          <p:nvPr/>
        </p:nvSpPr>
        <p:spPr>
          <a:xfrm>
            <a:off x="151034" y="2944024"/>
            <a:ext cx="5784043" cy="76944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t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</a:rPr>
              <a:t>1 year of professional experience in the IT industry (current)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rgbClr val="000000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</a:rPr>
              <a:t>B. Tech in Electronics &amp; communication Engineering (2017-2021) in KKR &amp; KSR Institute of Technology &amp; Sciences, Guntur (district), Andhra Pradesh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C9239A-C80C-420C-8A02-84F140C415F7}"/>
              </a:ext>
            </a:extLst>
          </p:cNvPr>
          <p:cNvSpPr/>
          <p:nvPr/>
        </p:nvSpPr>
        <p:spPr>
          <a:xfrm>
            <a:off x="6256923" y="1654011"/>
            <a:ext cx="5784043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1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 have good hands-on experience on Angular Developer.</a:t>
            </a:r>
          </a:p>
          <a:p>
            <a:pPr marL="0" lvl="1"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1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 have extensively worked on Jira Tickets which has been assigned by clients. </a:t>
            </a:r>
          </a:p>
          <a:p>
            <a:pPr marL="0" lvl="1"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IN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dentifying, understanding and resolving issues related to Styling and Cosmetic Defects.</a:t>
            </a:r>
          </a:p>
          <a:p>
            <a:pPr marL="171450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 have knowledge on HTML ,CSS, JavaScript, Angular, Java.</a:t>
            </a:r>
          </a:p>
          <a:p>
            <a:pPr marL="171450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1088239" fontAlgn="base">
              <a:spcBef>
                <a:spcPts val="133"/>
              </a:spcBef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 got Certified on AWS Cloud Practioner.</a:t>
            </a:r>
          </a:p>
          <a:p>
            <a:pPr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1088239" fontAlgn="base">
              <a:spcBef>
                <a:spcPts val="133"/>
              </a:spcBef>
              <a:buClr>
                <a:srgbClr val="0070AD"/>
              </a:buClr>
              <a:defRPr/>
            </a:pPr>
            <a:endParaRPr lang="en-US" sz="11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7" name="Picture Placeholder 7">
            <a:extLst>
              <a:ext uri="{FF2B5EF4-FFF2-40B4-BE49-F238E27FC236}">
                <a16:creationId xmlns:a16="http://schemas.microsoft.com/office/drawing/2014/main" id="{A5AEBE95-1C5A-442B-9AF8-DC3FFA89BF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396" b="7396"/>
          <a:stretch/>
        </p:blipFill>
        <p:spPr>
          <a:xfrm>
            <a:off x="486330" y="816368"/>
            <a:ext cx="1580356" cy="1580356"/>
          </a:xfrm>
          <a:prstGeom prst="ellipse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39CC63-A462-4D62-BF01-B8BDA2343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474" y="683483"/>
            <a:ext cx="1731414" cy="173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14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2013 Capgemini Template">
  <a:themeElements>
    <a:clrScheme name="2017 New Brand Colors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143D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8B0F3E1924F746AFE63FE57AB45F81" ma:contentTypeVersion="4" ma:contentTypeDescription="Create a new document." ma:contentTypeScope="" ma:versionID="8ff2222f3b5a49c440076c740089b00d">
  <xsd:schema xmlns:xsd="http://www.w3.org/2001/XMLSchema" xmlns:xs="http://www.w3.org/2001/XMLSchema" xmlns:p="http://schemas.microsoft.com/office/2006/metadata/properties" xmlns:ns2="bd0d7bac-eb3a-4ea5-b219-6659ad5833f6" targetNamespace="http://schemas.microsoft.com/office/2006/metadata/properties" ma:root="true" ma:fieldsID="2e4c87e8853a81b277f8c43516d8d1b1" ns2:_="">
    <xsd:import namespace="bd0d7bac-eb3a-4ea5-b219-6659ad5833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0d7bac-eb3a-4ea5-b219-6659ad5833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F5FFF70-6ED1-4E3B-BC7E-4135E74D09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9D8804-6EA0-4DA4-A865-EB6E7ED821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0d7bac-eb3a-4ea5-b219-6659ad5833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E03624-8B05-44F2-BE9C-7CDF62394F4B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bd0d7bac-eb3a-4ea5-b219-6659ad5833f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07</TotalTime>
  <Words>128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ourier New</vt:lpstr>
      <vt:lpstr>Times New Roman</vt:lpstr>
      <vt:lpstr>Verdana</vt:lpstr>
      <vt:lpstr>Wingdings</vt:lpstr>
      <vt:lpstr>2013 Capgemini Template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 Odhwani</dc:title>
  <dc:creator>Shetty, Pramoda</dc:creator>
  <cp:lastModifiedBy>Jhansi Aneela, Nerella</cp:lastModifiedBy>
  <cp:revision>121</cp:revision>
  <dcterms:created xsi:type="dcterms:W3CDTF">2020-10-05T07:21:43Z</dcterms:created>
  <dcterms:modified xsi:type="dcterms:W3CDTF">2022-11-03T12:1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8B0F3E1924F746AFE63FE57AB45F81</vt:lpwstr>
  </property>
</Properties>
</file>